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/1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Nåde og Sandh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Johannes lægger i evangeliet vægt på at nåde og sandhed legemliggøres i Jesus. Det ligger i umiddelbar forlængelse af, hvad vi allerede ved om Gud fra det Gamle Testamente: ”Herren, Herren er en barmhjertig og nådig Gud, sen til vrede og rig på troskab og sandhed.” (2. Mos 34:6) og ” Men du, Herre, er en barmhjertig og nådig Gud, sen til vrede, rig på troskab og sandhed.” (Salme 86:15).</a:t>
            </a:r>
          </a:p>
          <a:p>
            <a:r>
              <a:rPr lang="da-DK" dirty="0"/>
              <a:t>Vi behøver ikke at foregive noget overfor Gud. Han kender sandheden om os og viser stadig nåde til den som søger ham. Det er tydeligst når vi ser på Jesus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”for loven blev givet ved Moses, nåden og sandheden kom ved Jesus Kristus.”</a:t>
            </a:r>
            <a:br>
              <a:rPr lang="da-DK" dirty="0"/>
            </a:br>
            <a:r>
              <a:rPr lang="da-DK" dirty="0"/>
              <a:t>(Johannesevangeliet 1:17)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291E857-BDB4-F6E5-AD1C-E51569172F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a-DK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Nåden </a:t>
            </a:r>
            <a:r>
              <a:rPr lang="da-DK" dirty="0">
                <a:solidFill>
                  <a:srgbClr val="000000"/>
                </a:solidFill>
                <a:latin typeface="Verdana" panose="020B0604030504040204" pitchFamily="34" charset="0"/>
              </a:rPr>
              <a:t>”hersker” over synden (Rom 5:21):</a:t>
            </a:r>
            <a:br>
              <a:rPr lang="da-DK" dirty="0">
                <a:solidFill>
                  <a:srgbClr val="000000"/>
                </a:solidFill>
                <a:latin typeface="Verdana" panose="020B0604030504040204" pitchFamily="34" charset="0"/>
              </a:rPr>
            </a:br>
            <a:r>
              <a:rPr lang="da-DK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”og blev synden større, er nåden blevet så meget desto større, for at </a:t>
            </a:r>
            <a:r>
              <a:rPr lang="da-DK" b="0" i="0" u="sng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nåden</a:t>
            </a:r>
            <a:r>
              <a:rPr lang="da-DK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, ligesom synden har hersket i og med døden, </a:t>
            </a:r>
            <a:r>
              <a:rPr lang="da-DK" b="0" i="0" u="sng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skal herske ved retfærdighed</a:t>
            </a:r>
            <a:r>
              <a:rPr lang="da-DK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 til evigt liv ved Jesus Kristus, vor Herre.”</a:t>
            </a:r>
            <a:endParaRPr lang="da-DK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F291BE4-F9D4-29CB-3CA3-08F6E3056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a-DK" dirty="0"/>
              <a:t>Kan du komme i tanke om personer i Bibelen som først skjulte sig og siden trådte frem for Gud for at modtage hans nåde?</a:t>
            </a:r>
          </a:p>
          <a:p>
            <a:r>
              <a:rPr lang="da-DK" dirty="0"/>
              <a:t>Hvordan </a:t>
            </a:r>
            <a:r>
              <a:rPr lang="da-DK" dirty="0" err="1"/>
              <a:t>opleved</a:t>
            </a:r>
            <a:r>
              <a:rPr lang="da-DK" dirty="0"/>
              <a:t> Paulus Guds nåde?</a:t>
            </a:r>
          </a:p>
          <a:p>
            <a:r>
              <a:rPr lang="da-DK" dirty="0"/>
              <a:t>Har du eksempler fra dit eget liv, hvor du måtte se sandheden om dig selv i øjnene og søge Guds nåde?</a:t>
            </a:r>
          </a:p>
          <a:p>
            <a:r>
              <a:rPr lang="da-DK" dirty="0"/>
              <a:t>Er der virkelig ikke nogen grænse for, hvad der kan rummes af Guds nåde?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776C5E1-04EA-F19B-C586-CEB738D009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49856841-415A-8642-AA41-1B4D9FFE5CCB}"/>
              </a:ext>
            </a:extLst>
          </p:cNvPr>
          <p:cNvSpPr txBox="1"/>
          <p:nvPr/>
        </p:nvSpPr>
        <p:spPr>
          <a:xfrm>
            <a:off x="13047260" y="614149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98</TotalTime>
  <Words>266</Words>
  <Application>Microsoft Macintosh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Nåde og Sandhed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enny Glüsing</cp:lastModifiedBy>
  <cp:revision>115</cp:revision>
  <dcterms:created xsi:type="dcterms:W3CDTF">2019-08-19T18:08:22Z</dcterms:created>
  <dcterms:modified xsi:type="dcterms:W3CDTF">2023-01-17T08:5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